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821" r:id="rId2"/>
    <p:sldId id="822" r:id="rId3"/>
    <p:sldId id="823" r:id="rId4"/>
    <p:sldId id="824" r:id="rId5"/>
    <p:sldId id="825" r:id="rId6"/>
    <p:sldId id="826" r:id="rId7"/>
    <p:sldId id="827" r:id="rId8"/>
    <p:sldId id="828" r:id="rId9"/>
    <p:sldId id="309" r:id="rId10"/>
    <p:sldId id="815" r:id="rId11"/>
    <p:sldId id="816" r:id="rId12"/>
    <p:sldId id="307" r:id="rId13"/>
    <p:sldId id="313" r:id="rId14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-1644" y="-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16" custLinFactNeighborY="36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02952A2-E36A-4C36-9F3E-BBB3A16BEAFF}" type="presOf" srcId="{CBB2EDB4-08BF-49DB-9282-C363CE23E3D0}" destId="{7099C5AD-A666-455F-9144-31509FAE35FB}" srcOrd="0" destOrd="0" presId="urn:microsoft.com/office/officeart/2005/8/layout/pyramid1"/>
    <dgm:cxn modelId="{792CBD91-D1FA-4645-B0E6-1E344FDF5B5F}" type="presOf" srcId="{F014B99B-BC0F-4D51-AA35-03139CBC5BDF}" destId="{158BBE6D-1C8E-4142-827F-B1B32D20364B}" srcOrd="1" destOrd="0" presId="urn:microsoft.com/office/officeart/2005/8/layout/pyramid1"/>
    <dgm:cxn modelId="{CB6F3BE7-F153-4CED-8270-72A0F84A15F2}" type="presOf" srcId="{CBB2EDB4-08BF-49DB-9282-C363CE23E3D0}" destId="{8064A9E2-4365-4891-A563-4210D9FE6047}" srcOrd="1" destOrd="0" presId="urn:microsoft.com/office/officeart/2005/8/layout/pyramid1"/>
    <dgm:cxn modelId="{EBAC2FB6-06C0-4A9E-9E1C-FA45C82478E1}" type="presOf" srcId="{F014B99B-BC0F-4D51-AA35-03139CBC5BDF}" destId="{47753778-DDCD-4F66-8671-0963E55AC1AB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684A2119-F004-4EA4-91AB-934B6F8401A9}" type="presOf" srcId="{8380A261-4409-4C6B-8A07-0D64C5422F6D}" destId="{3405B94A-B110-4EB0-B99D-680A85764021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87C54C2A-2433-412F-AFDC-EF80684BA9FB}" type="presOf" srcId="{C055D918-0D48-44D3-9287-CAE1B93EB64A}" destId="{8C222443-D6D5-437E-8A06-7845FF64044F}" srcOrd="0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1E5B1BBB-EB15-427C-923B-76FB6018FA59}" type="presOf" srcId="{8380A261-4409-4C6B-8A07-0D64C5422F6D}" destId="{EB789FCB-B92C-4A52-BB06-4A95FA62001B}" srcOrd="1" destOrd="0" presId="urn:microsoft.com/office/officeart/2005/8/layout/pyramid1"/>
    <dgm:cxn modelId="{FC54928D-8489-45BE-A419-478DF3152712}" type="presParOf" srcId="{8C222443-D6D5-437E-8A06-7845FF64044F}" destId="{8E592AC7-B094-488F-86DE-8B46AA43A5F7}" srcOrd="0" destOrd="0" presId="urn:microsoft.com/office/officeart/2005/8/layout/pyramid1"/>
    <dgm:cxn modelId="{DC294B94-6F0D-4281-8DCC-7EE503DCE163}" type="presParOf" srcId="{8E592AC7-B094-488F-86DE-8B46AA43A5F7}" destId="{47753778-DDCD-4F66-8671-0963E55AC1AB}" srcOrd="0" destOrd="0" presId="urn:microsoft.com/office/officeart/2005/8/layout/pyramid1"/>
    <dgm:cxn modelId="{32B8B60D-2A65-4E4C-9F0F-98AF62A9611C}" type="presParOf" srcId="{8E592AC7-B094-488F-86DE-8B46AA43A5F7}" destId="{158BBE6D-1C8E-4142-827F-B1B32D20364B}" srcOrd="1" destOrd="0" presId="urn:microsoft.com/office/officeart/2005/8/layout/pyramid1"/>
    <dgm:cxn modelId="{4C8D2E90-553F-4C69-9633-5DB19C6B4730}" type="presParOf" srcId="{8C222443-D6D5-437E-8A06-7845FF64044F}" destId="{08609C55-E487-4600-AFD0-8994D3888F22}" srcOrd="1" destOrd="0" presId="urn:microsoft.com/office/officeart/2005/8/layout/pyramid1"/>
    <dgm:cxn modelId="{9AE41948-5B39-48DA-8B26-40AF888C607C}" type="presParOf" srcId="{08609C55-E487-4600-AFD0-8994D3888F22}" destId="{7099C5AD-A666-455F-9144-31509FAE35FB}" srcOrd="0" destOrd="0" presId="urn:microsoft.com/office/officeart/2005/8/layout/pyramid1"/>
    <dgm:cxn modelId="{EDA768DD-D368-40A1-A0BA-204DC4265C49}" type="presParOf" srcId="{08609C55-E487-4600-AFD0-8994D3888F22}" destId="{8064A9E2-4365-4891-A563-4210D9FE6047}" srcOrd="1" destOrd="0" presId="urn:microsoft.com/office/officeart/2005/8/layout/pyramid1"/>
    <dgm:cxn modelId="{EE52A2AF-CD13-415D-9E54-7F7697F26A0C}" type="presParOf" srcId="{8C222443-D6D5-437E-8A06-7845FF64044F}" destId="{4E66420A-6794-4210-A8DC-A681DFE94B26}" srcOrd="2" destOrd="0" presId="urn:microsoft.com/office/officeart/2005/8/layout/pyramid1"/>
    <dgm:cxn modelId="{3162D02E-FA21-4300-B51B-7304BA500A88}" type="presParOf" srcId="{4E66420A-6794-4210-A8DC-A681DFE94B26}" destId="{3405B94A-B110-4EB0-B99D-680A85764021}" srcOrd="0" destOrd="0" presId="urn:microsoft.com/office/officeart/2005/8/layout/pyramid1"/>
    <dgm:cxn modelId="{48E779E7-74C8-4ED9-B4DB-8D03ECADD262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BFEE5F0-45C5-4CFF-BA2D-8A60B5871492}" type="doc">
      <dgm:prSet loTypeId="urn:microsoft.com/office/officeart/2005/8/layout/vProcess5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ABD7538-E1B7-4A14-9649-1C582DF5D4FE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1. Сообщение пользователям о необходимости оформления листов самообследования</a:t>
          </a:r>
        </a:p>
      </dgm:t>
    </dgm:pt>
    <dgm:pt modelId="{B406846E-9354-4D37-9D29-9412891BCA3C}" type="parTrans" cxnId="{C4C80438-EAA9-4321-BFD7-B17FD2CDF6C5}">
      <dgm:prSet/>
      <dgm:spPr/>
      <dgm:t>
        <a:bodyPr/>
        <a:lstStyle/>
        <a:p>
          <a:endParaRPr lang="ru-RU"/>
        </a:p>
      </dgm:t>
    </dgm:pt>
    <dgm:pt modelId="{98F1C1C8-A9C5-40A9-916F-5131661F376A}" type="sibTrans" cxnId="{C4C80438-EAA9-4321-BFD7-B17FD2CDF6C5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>
            <a:solidFill>
              <a:srgbClr val="002060"/>
            </a:solidFill>
          </a:endParaRPr>
        </a:p>
      </dgm:t>
    </dgm:pt>
    <dgm:pt modelId="{640A066F-B17F-45B8-89F8-3AD1EC3F21AE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5. Подтверждение сдачи методических разработок методистом</a:t>
          </a:r>
        </a:p>
      </dgm:t>
    </dgm:pt>
    <dgm:pt modelId="{D3E3434C-981A-44CE-BE18-A5D126FDAEB8}" type="parTrans" cxnId="{6BF5B657-B78C-4B8A-9DD2-7E43D1DB1413}">
      <dgm:prSet/>
      <dgm:spPr/>
      <dgm:t>
        <a:bodyPr/>
        <a:lstStyle/>
        <a:p>
          <a:endParaRPr lang="ru-RU"/>
        </a:p>
      </dgm:t>
    </dgm:pt>
    <dgm:pt modelId="{80935358-8300-4C43-A619-5E4D01ECEE1C}" type="sibTrans" cxnId="{6BF5B657-B78C-4B8A-9DD2-7E43D1DB1413}">
      <dgm:prSet/>
      <dgm:spPr/>
      <dgm:t>
        <a:bodyPr/>
        <a:lstStyle/>
        <a:p>
          <a:endParaRPr lang="ru-RU"/>
        </a:p>
      </dgm:t>
    </dgm:pt>
    <dgm:pt modelId="{07E9D862-254D-46C5-A0D0-BD60FD084431}">
      <dgm:prSet phldrT="[Текст]"/>
      <dgm:spPr/>
      <dgm:t>
        <a:bodyPr/>
        <a:lstStyle/>
        <a:p>
          <a:endParaRPr lang="ru-RU"/>
        </a:p>
      </dgm:t>
    </dgm:pt>
    <dgm:pt modelId="{0EA3F1EE-441D-405A-8935-9EA1BEF45ADD}" type="parTrans" cxnId="{85A5A7F7-C6CE-4326-B522-1D29B69B9034}">
      <dgm:prSet/>
      <dgm:spPr/>
      <dgm:t>
        <a:bodyPr/>
        <a:lstStyle/>
        <a:p>
          <a:endParaRPr lang="ru-RU"/>
        </a:p>
      </dgm:t>
    </dgm:pt>
    <dgm:pt modelId="{B3D9C5EE-F500-42A2-9142-57FDA1BF22AE}" type="sibTrans" cxnId="{85A5A7F7-C6CE-4326-B522-1D29B69B9034}">
      <dgm:prSet/>
      <dgm:spPr/>
      <dgm:t>
        <a:bodyPr/>
        <a:lstStyle/>
        <a:p>
          <a:endParaRPr lang="ru-RU"/>
        </a:p>
      </dgm:t>
    </dgm:pt>
    <dgm:pt modelId="{2B8E528B-B59C-46A5-8EBC-B248E02C47B1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2. Заполнение листа самообследования с комплектом подтверждающих документов</a:t>
          </a:r>
        </a:p>
      </dgm:t>
    </dgm:pt>
    <dgm:pt modelId="{5A2109F1-5714-4AB0-B497-0BB2290288C0}" type="parTrans" cxnId="{E1011D21-2F5C-4B7B-A197-65E7014AC0EB}">
      <dgm:prSet/>
      <dgm:spPr/>
      <dgm:t>
        <a:bodyPr/>
        <a:lstStyle/>
        <a:p>
          <a:endParaRPr lang="ru-RU"/>
        </a:p>
      </dgm:t>
    </dgm:pt>
    <dgm:pt modelId="{EB8C6CE8-C0DC-4EDC-9F28-F1A973E801DD}" type="sibTrans" cxnId="{E1011D21-2F5C-4B7B-A197-65E7014AC0EB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68A3DDF-6DB4-4987-B53D-BCDBCA10BAEB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3. Подтверждение  выполненных задач от зам.директора по УВР</a:t>
          </a:r>
        </a:p>
      </dgm:t>
    </dgm:pt>
    <dgm:pt modelId="{8EFFDE97-27ED-4BEE-94F2-E44BC495E713}" type="parTrans" cxnId="{0FF18272-5323-40BD-820A-BCA1928EF8F0}">
      <dgm:prSet/>
      <dgm:spPr/>
      <dgm:t>
        <a:bodyPr/>
        <a:lstStyle/>
        <a:p>
          <a:endParaRPr lang="ru-RU"/>
        </a:p>
      </dgm:t>
    </dgm:pt>
    <dgm:pt modelId="{E7C70EB0-ACEC-4279-BCCC-DF6F633D54FD}" type="sibTrans" cxnId="{0FF18272-5323-40BD-820A-BCA1928EF8F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FC5BD7F4-96B4-47C9-998E-6FC57FDD5E06}">
      <dgm:prSet phldrT="[Текст]" custT="1"/>
      <dgm:spPr>
        <a:solidFill>
          <a:srgbClr val="9EE0FE"/>
        </a:solidFill>
      </dgm:spPr>
      <dgm:t>
        <a:bodyPr/>
        <a:lstStyle/>
        <a:p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4. Подтверждение выполненных задач от зам.директора по УПР</a:t>
          </a:r>
        </a:p>
      </dgm:t>
    </dgm:pt>
    <dgm:pt modelId="{B255644D-8A28-46C9-BF4D-930A9544BCBC}" type="parTrans" cxnId="{D299D945-5B06-4459-93D5-DC15415E57A0}">
      <dgm:prSet/>
      <dgm:spPr/>
      <dgm:t>
        <a:bodyPr/>
        <a:lstStyle/>
        <a:p>
          <a:endParaRPr lang="ru-RU"/>
        </a:p>
      </dgm:t>
    </dgm:pt>
    <dgm:pt modelId="{CA06A359-1AEE-4640-8FE2-7A447B44B5F4}" type="sibTrans" cxnId="{D299D945-5B06-4459-93D5-DC15415E57A0}">
      <dgm:prSet/>
      <dgm:spPr>
        <a:solidFill>
          <a:srgbClr val="0070C0">
            <a:alpha val="90000"/>
          </a:srgbClr>
        </a:solidFill>
      </dgm:spPr>
      <dgm:t>
        <a:bodyPr/>
        <a:lstStyle/>
        <a:p>
          <a:endParaRPr lang="ru-RU"/>
        </a:p>
      </dgm:t>
    </dgm:pt>
    <dgm:pt modelId="{750584B0-8F72-4FC1-8F04-083026C179E3}" type="pres">
      <dgm:prSet presAssocID="{6BFEE5F0-45C5-4CFF-BA2D-8A60B5871492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5C6604F-7771-4662-8AA0-396AE1A5BE3F}" type="pres">
      <dgm:prSet presAssocID="{6BFEE5F0-45C5-4CFF-BA2D-8A60B5871492}" presName="dummyMaxCanvas" presStyleCnt="0">
        <dgm:presLayoutVars/>
      </dgm:prSet>
      <dgm:spPr/>
    </dgm:pt>
    <dgm:pt modelId="{30FEC8C0-9AF4-4C08-9FBE-E2B4BF8EDC03}" type="pres">
      <dgm:prSet presAssocID="{6BFEE5F0-45C5-4CFF-BA2D-8A60B5871492}" presName="FiveNodes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366500-1CE0-4E21-ABD1-DA4624D064AC}" type="pres">
      <dgm:prSet presAssocID="{6BFEE5F0-45C5-4CFF-BA2D-8A60B5871492}" presName="FiveNodes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A03898-272E-4EF0-AF67-078971E9CE25}" type="pres">
      <dgm:prSet presAssocID="{6BFEE5F0-45C5-4CFF-BA2D-8A60B5871492}" presName="FiveNodes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17664F-C9B3-4249-A8B8-C4D300FA926D}" type="pres">
      <dgm:prSet presAssocID="{6BFEE5F0-45C5-4CFF-BA2D-8A60B5871492}" presName="FiveNodes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A6D48D-BAD0-473B-A278-4CF37A911351}" type="pres">
      <dgm:prSet presAssocID="{6BFEE5F0-45C5-4CFF-BA2D-8A60B5871492}" presName="FiveNodes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9552E2-4F18-4949-BE6B-3424A9372BC7}" type="pres">
      <dgm:prSet presAssocID="{6BFEE5F0-45C5-4CFF-BA2D-8A60B5871492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3E2DFB3-AB61-455F-9BB7-2E64B786D895}" type="pres">
      <dgm:prSet presAssocID="{6BFEE5F0-45C5-4CFF-BA2D-8A60B5871492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9A8CAC-EB46-4693-A9F5-A064E8EFDD0C}" type="pres">
      <dgm:prSet presAssocID="{6BFEE5F0-45C5-4CFF-BA2D-8A60B5871492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B365600-431D-4308-99D7-92F1861F9C31}" type="pres">
      <dgm:prSet presAssocID="{6BFEE5F0-45C5-4CFF-BA2D-8A60B5871492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FD72557-98A8-484B-B82C-065B0616D77B}" type="pres">
      <dgm:prSet presAssocID="{6BFEE5F0-45C5-4CFF-BA2D-8A60B5871492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231FB49-1DD9-4303-9D35-94208F3E324B}" type="pres">
      <dgm:prSet presAssocID="{6BFEE5F0-45C5-4CFF-BA2D-8A60B5871492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46162F8-B5E5-4AE8-89A7-33FD83ECEF0D}" type="pres">
      <dgm:prSet presAssocID="{6BFEE5F0-45C5-4CFF-BA2D-8A60B5871492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8DD35B8-8792-44B6-A00D-B33E61D3EFF6}" type="pres">
      <dgm:prSet presAssocID="{6BFEE5F0-45C5-4CFF-BA2D-8A60B5871492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858857A-1BF0-4921-8D21-7BADDAF5D973}" type="pres">
      <dgm:prSet presAssocID="{6BFEE5F0-45C5-4CFF-BA2D-8A60B5871492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CB96756-A65B-45D0-B586-FE0C26B2514D}" type="presOf" srcId="{2B8E528B-B59C-46A5-8EBC-B248E02C47B1}" destId="{5231FB49-1DD9-4303-9D35-94208F3E324B}" srcOrd="1" destOrd="0" presId="urn:microsoft.com/office/officeart/2005/8/layout/vProcess5"/>
    <dgm:cxn modelId="{0FF18272-5323-40BD-820A-BCA1928EF8F0}" srcId="{6BFEE5F0-45C5-4CFF-BA2D-8A60B5871492}" destId="{F68A3DDF-6DB4-4987-B53D-BCDBCA10BAEB}" srcOrd="2" destOrd="0" parTransId="{8EFFDE97-27ED-4BEE-94F2-E44BC495E713}" sibTransId="{E7C70EB0-ACEC-4279-BCCC-DF6F633D54FD}"/>
    <dgm:cxn modelId="{C4C80438-EAA9-4321-BFD7-B17FD2CDF6C5}" srcId="{6BFEE5F0-45C5-4CFF-BA2D-8A60B5871492}" destId="{DABD7538-E1B7-4A14-9649-1C582DF5D4FE}" srcOrd="0" destOrd="0" parTransId="{B406846E-9354-4D37-9D29-9412891BCA3C}" sibTransId="{98F1C1C8-A9C5-40A9-916F-5131661F376A}"/>
    <dgm:cxn modelId="{F2936C4A-6155-4687-8F74-B886BE8884A4}" type="presOf" srcId="{CA06A359-1AEE-4640-8FE2-7A447B44B5F4}" destId="{7B365600-431D-4308-99D7-92F1861F9C31}" srcOrd="0" destOrd="0" presId="urn:microsoft.com/office/officeart/2005/8/layout/vProcess5"/>
    <dgm:cxn modelId="{CA1C1E4C-3053-4155-9C80-B1EB95B72E42}" type="presOf" srcId="{640A066F-B17F-45B8-89F8-3AD1EC3F21AE}" destId="{6EA6D48D-BAD0-473B-A278-4CF37A911351}" srcOrd="0" destOrd="0" presId="urn:microsoft.com/office/officeart/2005/8/layout/vProcess5"/>
    <dgm:cxn modelId="{6BF5B657-B78C-4B8A-9DD2-7E43D1DB1413}" srcId="{6BFEE5F0-45C5-4CFF-BA2D-8A60B5871492}" destId="{640A066F-B17F-45B8-89F8-3AD1EC3F21AE}" srcOrd="4" destOrd="0" parTransId="{D3E3434C-981A-44CE-BE18-A5D126FDAEB8}" sibTransId="{80935358-8300-4C43-A619-5E4D01ECEE1C}"/>
    <dgm:cxn modelId="{AD4C42F7-DE47-434E-8959-D5B9CE32EA7E}" type="presOf" srcId="{EB8C6CE8-C0DC-4EDC-9F28-F1A973E801DD}" destId="{03E2DFB3-AB61-455F-9BB7-2E64B786D895}" srcOrd="0" destOrd="0" presId="urn:microsoft.com/office/officeart/2005/8/layout/vProcess5"/>
    <dgm:cxn modelId="{97F82EF7-7515-4153-B282-2AB399590B60}" type="presOf" srcId="{F68A3DDF-6DB4-4987-B53D-BCDBCA10BAEB}" destId="{246162F8-B5E5-4AE8-89A7-33FD83ECEF0D}" srcOrd="1" destOrd="0" presId="urn:microsoft.com/office/officeart/2005/8/layout/vProcess5"/>
    <dgm:cxn modelId="{85A5A7F7-C6CE-4326-B522-1D29B69B9034}" srcId="{6BFEE5F0-45C5-4CFF-BA2D-8A60B5871492}" destId="{07E9D862-254D-46C5-A0D0-BD60FD084431}" srcOrd="5" destOrd="0" parTransId="{0EA3F1EE-441D-405A-8935-9EA1BEF45ADD}" sibTransId="{B3D9C5EE-F500-42A2-9142-57FDA1BF22AE}"/>
    <dgm:cxn modelId="{1DCF82CF-BAC7-4911-ABB5-341E43019593}" type="presOf" srcId="{FC5BD7F4-96B4-47C9-998E-6FC57FDD5E06}" destId="{7B17664F-C9B3-4249-A8B8-C4D300FA926D}" srcOrd="0" destOrd="0" presId="urn:microsoft.com/office/officeart/2005/8/layout/vProcess5"/>
    <dgm:cxn modelId="{E1011D21-2F5C-4B7B-A197-65E7014AC0EB}" srcId="{6BFEE5F0-45C5-4CFF-BA2D-8A60B5871492}" destId="{2B8E528B-B59C-46A5-8EBC-B248E02C47B1}" srcOrd="1" destOrd="0" parTransId="{5A2109F1-5714-4AB0-B497-0BB2290288C0}" sibTransId="{EB8C6CE8-C0DC-4EDC-9F28-F1A973E801DD}"/>
    <dgm:cxn modelId="{1BA5EBE3-3F4C-4EF6-8FC0-B070677DAC04}" type="presOf" srcId="{DABD7538-E1B7-4A14-9649-1C582DF5D4FE}" destId="{5FD72557-98A8-484B-B82C-065B0616D77B}" srcOrd="1" destOrd="0" presId="urn:microsoft.com/office/officeart/2005/8/layout/vProcess5"/>
    <dgm:cxn modelId="{D299D945-5B06-4459-93D5-DC15415E57A0}" srcId="{6BFEE5F0-45C5-4CFF-BA2D-8A60B5871492}" destId="{FC5BD7F4-96B4-47C9-998E-6FC57FDD5E06}" srcOrd="3" destOrd="0" parTransId="{B255644D-8A28-46C9-BF4D-930A9544BCBC}" sibTransId="{CA06A359-1AEE-4640-8FE2-7A447B44B5F4}"/>
    <dgm:cxn modelId="{BDAFD23A-A7B6-4510-9AD5-01A9D9D104D0}" type="presOf" srcId="{640A066F-B17F-45B8-89F8-3AD1EC3F21AE}" destId="{E858857A-1BF0-4921-8D21-7BADDAF5D973}" srcOrd="1" destOrd="0" presId="urn:microsoft.com/office/officeart/2005/8/layout/vProcess5"/>
    <dgm:cxn modelId="{DF3A725C-117B-4BA3-8C5F-0097ECD451AB}" type="presOf" srcId="{6BFEE5F0-45C5-4CFF-BA2D-8A60B5871492}" destId="{750584B0-8F72-4FC1-8F04-083026C179E3}" srcOrd="0" destOrd="0" presId="urn:microsoft.com/office/officeart/2005/8/layout/vProcess5"/>
    <dgm:cxn modelId="{F1B496A5-85E4-4F87-B331-D2BB656EA1BD}" type="presOf" srcId="{FC5BD7F4-96B4-47C9-998E-6FC57FDD5E06}" destId="{F8DD35B8-8792-44B6-A00D-B33E61D3EFF6}" srcOrd="1" destOrd="0" presId="urn:microsoft.com/office/officeart/2005/8/layout/vProcess5"/>
    <dgm:cxn modelId="{7DCF197F-11A3-4556-BDF8-A07A795ABA8F}" type="presOf" srcId="{98F1C1C8-A9C5-40A9-916F-5131661F376A}" destId="{AE9552E2-4F18-4949-BE6B-3424A9372BC7}" srcOrd="0" destOrd="0" presId="urn:microsoft.com/office/officeart/2005/8/layout/vProcess5"/>
    <dgm:cxn modelId="{5612FB7A-1C75-4F96-8FBA-CE09ED85426A}" type="presOf" srcId="{2B8E528B-B59C-46A5-8EBC-B248E02C47B1}" destId="{FE366500-1CE0-4E21-ABD1-DA4624D064AC}" srcOrd="0" destOrd="0" presId="urn:microsoft.com/office/officeart/2005/8/layout/vProcess5"/>
    <dgm:cxn modelId="{ACB935DF-5A92-4297-8AE6-F203006084DF}" type="presOf" srcId="{F68A3DDF-6DB4-4987-B53D-BCDBCA10BAEB}" destId="{B6A03898-272E-4EF0-AF67-078971E9CE25}" srcOrd="0" destOrd="0" presId="urn:microsoft.com/office/officeart/2005/8/layout/vProcess5"/>
    <dgm:cxn modelId="{D47FAA15-73AF-4099-9318-F213010D9493}" type="presOf" srcId="{E7C70EB0-ACEC-4279-BCCC-DF6F633D54FD}" destId="{D89A8CAC-EB46-4693-A9F5-A064E8EFDD0C}" srcOrd="0" destOrd="0" presId="urn:microsoft.com/office/officeart/2005/8/layout/vProcess5"/>
    <dgm:cxn modelId="{66AFC5CF-7352-4F56-A0AA-6A3450F7DA57}" type="presOf" srcId="{DABD7538-E1B7-4A14-9649-1C582DF5D4FE}" destId="{30FEC8C0-9AF4-4C08-9FBE-E2B4BF8EDC03}" srcOrd="0" destOrd="0" presId="urn:microsoft.com/office/officeart/2005/8/layout/vProcess5"/>
    <dgm:cxn modelId="{D356F34A-5BBF-4E1C-A6A1-863F5F7497D7}" type="presParOf" srcId="{750584B0-8F72-4FC1-8F04-083026C179E3}" destId="{75C6604F-7771-4662-8AA0-396AE1A5BE3F}" srcOrd="0" destOrd="0" presId="urn:microsoft.com/office/officeart/2005/8/layout/vProcess5"/>
    <dgm:cxn modelId="{C54A4B63-A4B9-4FF8-B06E-DF5A8CC621C2}" type="presParOf" srcId="{750584B0-8F72-4FC1-8F04-083026C179E3}" destId="{30FEC8C0-9AF4-4C08-9FBE-E2B4BF8EDC03}" srcOrd="1" destOrd="0" presId="urn:microsoft.com/office/officeart/2005/8/layout/vProcess5"/>
    <dgm:cxn modelId="{725943E9-7E2A-479D-98FF-05F3D44A112B}" type="presParOf" srcId="{750584B0-8F72-4FC1-8F04-083026C179E3}" destId="{FE366500-1CE0-4E21-ABD1-DA4624D064AC}" srcOrd="2" destOrd="0" presId="urn:microsoft.com/office/officeart/2005/8/layout/vProcess5"/>
    <dgm:cxn modelId="{CB7CD89D-5B72-42CF-8554-17928ED6E43D}" type="presParOf" srcId="{750584B0-8F72-4FC1-8F04-083026C179E3}" destId="{B6A03898-272E-4EF0-AF67-078971E9CE25}" srcOrd="3" destOrd="0" presId="urn:microsoft.com/office/officeart/2005/8/layout/vProcess5"/>
    <dgm:cxn modelId="{D95DFD20-FBA3-4B8D-AD69-200D22D681F3}" type="presParOf" srcId="{750584B0-8F72-4FC1-8F04-083026C179E3}" destId="{7B17664F-C9B3-4249-A8B8-C4D300FA926D}" srcOrd="4" destOrd="0" presId="urn:microsoft.com/office/officeart/2005/8/layout/vProcess5"/>
    <dgm:cxn modelId="{667C7091-2AFD-4C7D-8447-72131A979E49}" type="presParOf" srcId="{750584B0-8F72-4FC1-8F04-083026C179E3}" destId="{6EA6D48D-BAD0-473B-A278-4CF37A911351}" srcOrd="5" destOrd="0" presId="urn:microsoft.com/office/officeart/2005/8/layout/vProcess5"/>
    <dgm:cxn modelId="{98616849-76B6-47D0-B92C-3F5E96C15DC0}" type="presParOf" srcId="{750584B0-8F72-4FC1-8F04-083026C179E3}" destId="{AE9552E2-4F18-4949-BE6B-3424A9372BC7}" srcOrd="6" destOrd="0" presId="urn:microsoft.com/office/officeart/2005/8/layout/vProcess5"/>
    <dgm:cxn modelId="{4CC8EE6B-38AB-46B5-A9A8-A40A5104A44D}" type="presParOf" srcId="{750584B0-8F72-4FC1-8F04-083026C179E3}" destId="{03E2DFB3-AB61-455F-9BB7-2E64B786D895}" srcOrd="7" destOrd="0" presId="urn:microsoft.com/office/officeart/2005/8/layout/vProcess5"/>
    <dgm:cxn modelId="{B350729A-4EBC-4662-BBBC-77062B407462}" type="presParOf" srcId="{750584B0-8F72-4FC1-8F04-083026C179E3}" destId="{D89A8CAC-EB46-4693-A9F5-A064E8EFDD0C}" srcOrd="8" destOrd="0" presId="urn:microsoft.com/office/officeart/2005/8/layout/vProcess5"/>
    <dgm:cxn modelId="{2717DD26-3A90-46D1-9B12-55CBD4409F9F}" type="presParOf" srcId="{750584B0-8F72-4FC1-8F04-083026C179E3}" destId="{7B365600-431D-4308-99D7-92F1861F9C31}" srcOrd="9" destOrd="0" presId="urn:microsoft.com/office/officeart/2005/8/layout/vProcess5"/>
    <dgm:cxn modelId="{9E667E82-8A0D-4FA0-8638-6DE8D3DE1E04}" type="presParOf" srcId="{750584B0-8F72-4FC1-8F04-083026C179E3}" destId="{5FD72557-98A8-484B-B82C-065B0616D77B}" srcOrd="10" destOrd="0" presId="urn:microsoft.com/office/officeart/2005/8/layout/vProcess5"/>
    <dgm:cxn modelId="{D3E07C96-F5C8-4F3C-92A6-6B3330B4706A}" type="presParOf" srcId="{750584B0-8F72-4FC1-8F04-083026C179E3}" destId="{5231FB49-1DD9-4303-9D35-94208F3E324B}" srcOrd="11" destOrd="0" presId="urn:microsoft.com/office/officeart/2005/8/layout/vProcess5"/>
    <dgm:cxn modelId="{D0986F51-6D77-4890-B7E2-237DCA62282D}" type="presParOf" srcId="{750584B0-8F72-4FC1-8F04-083026C179E3}" destId="{246162F8-B5E5-4AE8-89A7-33FD83ECEF0D}" srcOrd="12" destOrd="0" presId="urn:microsoft.com/office/officeart/2005/8/layout/vProcess5"/>
    <dgm:cxn modelId="{7C243659-B71E-401B-87B7-78F9CE84F63D}" type="presParOf" srcId="{750584B0-8F72-4FC1-8F04-083026C179E3}" destId="{F8DD35B8-8792-44B6-A00D-B33E61D3EFF6}" srcOrd="13" destOrd="0" presId="urn:microsoft.com/office/officeart/2005/8/layout/vProcess5"/>
    <dgm:cxn modelId="{FBF34003-3B23-4126-AA7B-F186C93CB6A7}" type="presParOf" srcId="{750584B0-8F72-4FC1-8F04-083026C179E3}" destId="{E858857A-1BF0-4921-8D21-7BADDAF5D973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368152" y="0"/>
          <a:ext cx="1368151" cy="1553888"/>
        </a:xfrm>
        <a:prstGeom prst="trapezoid">
          <a:avLst>
            <a:gd name="adj" fmla="val 5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368152" y="0"/>
        <a:ext cx="1368151" cy="1553888"/>
      </dsp:txXfrm>
    </dsp:sp>
    <dsp:sp modelId="{7099C5AD-A666-455F-9144-31509FAE35FB}">
      <dsp:nvSpPr>
        <dsp:cNvPr id="0" name=""/>
        <dsp:cNvSpPr/>
      </dsp:nvSpPr>
      <dsp:spPr>
        <a:xfrm>
          <a:off x="679178" y="1568945"/>
          <a:ext cx="2736303" cy="1553888"/>
        </a:xfrm>
        <a:prstGeom prst="trapezoid">
          <a:avLst>
            <a:gd name="adj" fmla="val 44023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158031" y="1568945"/>
        <a:ext cx="1778597" cy="1553888"/>
      </dsp:txXfrm>
    </dsp:sp>
    <dsp:sp modelId="{3405B94A-B110-4EB0-B99D-680A85764021}">
      <dsp:nvSpPr>
        <dsp:cNvPr id="0" name=""/>
        <dsp:cNvSpPr/>
      </dsp:nvSpPr>
      <dsp:spPr>
        <a:xfrm>
          <a:off x="0" y="3107776"/>
          <a:ext cx="4104456" cy="1553888"/>
        </a:xfrm>
        <a:prstGeom prst="trapezoid">
          <a:avLst>
            <a:gd name="adj" fmla="val 44023"/>
          </a:avLst>
        </a:prstGeom>
        <a:solidFill>
          <a:srgbClr val="00B0F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718279" y="3107776"/>
        <a:ext cx="2667896" cy="155388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FEC8C0-9AF4-4C08-9FBE-E2B4BF8EDC03}">
      <dsp:nvSpPr>
        <dsp:cNvPr id="0" name=""/>
        <dsp:cNvSpPr/>
      </dsp:nvSpPr>
      <dsp:spPr>
        <a:xfrm>
          <a:off x="0" y="0"/>
          <a:ext cx="6225556" cy="803529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1. Сообщение пользователям о необходимости оформления листов самообследования</a:t>
          </a:r>
        </a:p>
      </dsp:txBody>
      <dsp:txXfrm>
        <a:off x="23535" y="23535"/>
        <a:ext cx="5264472" cy="756459"/>
      </dsp:txXfrm>
    </dsp:sp>
    <dsp:sp modelId="{FE366500-1CE0-4E21-ABD1-DA4624D064AC}">
      <dsp:nvSpPr>
        <dsp:cNvPr id="0" name=""/>
        <dsp:cNvSpPr/>
      </dsp:nvSpPr>
      <dsp:spPr>
        <a:xfrm>
          <a:off x="464895" y="915130"/>
          <a:ext cx="6225556" cy="803529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2. Заполнение листа самообследования с комплектом подтверждающих документов</a:t>
          </a:r>
        </a:p>
      </dsp:txBody>
      <dsp:txXfrm>
        <a:off x="488430" y="938665"/>
        <a:ext cx="5191296" cy="756459"/>
      </dsp:txXfrm>
    </dsp:sp>
    <dsp:sp modelId="{B6A03898-272E-4EF0-AF67-078971E9CE25}">
      <dsp:nvSpPr>
        <dsp:cNvPr id="0" name=""/>
        <dsp:cNvSpPr/>
      </dsp:nvSpPr>
      <dsp:spPr>
        <a:xfrm>
          <a:off x="929790" y="1830260"/>
          <a:ext cx="6225556" cy="803529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3. Подтверждение  выполненных задач от зам.директора по УВР</a:t>
          </a:r>
        </a:p>
      </dsp:txBody>
      <dsp:txXfrm>
        <a:off x="953325" y="1853795"/>
        <a:ext cx="5191296" cy="756459"/>
      </dsp:txXfrm>
    </dsp:sp>
    <dsp:sp modelId="{7B17664F-C9B3-4249-A8B8-C4D300FA926D}">
      <dsp:nvSpPr>
        <dsp:cNvPr id="0" name=""/>
        <dsp:cNvSpPr/>
      </dsp:nvSpPr>
      <dsp:spPr>
        <a:xfrm>
          <a:off x="1394686" y="2745390"/>
          <a:ext cx="6225556" cy="803529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4. Подтверждение выполненных задач от зам.директора по УПР</a:t>
          </a:r>
        </a:p>
      </dsp:txBody>
      <dsp:txXfrm>
        <a:off x="1418221" y="2768925"/>
        <a:ext cx="5191296" cy="756459"/>
      </dsp:txXfrm>
    </dsp:sp>
    <dsp:sp modelId="{6EA6D48D-BAD0-473B-A278-4CF37A911351}">
      <dsp:nvSpPr>
        <dsp:cNvPr id="0" name=""/>
        <dsp:cNvSpPr/>
      </dsp:nvSpPr>
      <dsp:spPr>
        <a:xfrm>
          <a:off x="1859581" y="3660521"/>
          <a:ext cx="6225556" cy="803529"/>
        </a:xfrm>
        <a:prstGeom prst="roundRect">
          <a:avLst>
            <a:gd name="adj" fmla="val 10000"/>
          </a:avLst>
        </a:prstGeom>
        <a:solidFill>
          <a:srgbClr val="9EE0FE"/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5. Подтверждение сдачи методических разработок методистом</a:t>
          </a:r>
        </a:p>
      </dsp:txBody>
      <dsp:txXfrm>
        <a:off x="1883116" y="3684056"/>
        <a:ext cx="5191296" cy="756459"/>
      </dsp:txXfrm>
    </dsp:sp>
    <dsp:sp modelId="{AE9552E2-4F18-4949-BE6B-3424A9372BC7}">
      <dsp:nvSpPr>
        <dsp:cNvPr id="0" name=""/>
        <dsp:cNvSpPr/>
      </dsp:nvSpPr>
      <dsp:spPr>
        <a:xfrm>
          <a:off x="5703262" y="587022"/>
          <a:ext cx="522293" cy="522293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300" kern="1200">
            <a:solidFill>
              <a:srgbClr val="002060"/>
            </a:solidFill>
          </a:endParaRPr>
        </a:p>
      </dsp:txBody>
      <dsp:txXfrm>
        <a:off x="5820778" y="587022"/>
        <a:ext cx="287261" cy="393025"/>
      </dsp:txXfrm>
    </dsp:sp>
    <dsp:sp modelId="{03E2DFB3-AB61-455F-9BB7-2E64B786D895}">
      <dsp:nvSpPr>
        <dsp:cNvPr id="0" name=""/>
        <dsp:cNvSpPr/>
      </dsp:nvSpPr>
      <dsp:spPr>
        <a:xfrm>
          <a:off x="6168157" y="1502152"/>
          <a:ext cx="522293" cy="522293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300" kern="1200"/>
        </a:p>
      </dsp:txBody>
      <dsp:txXfrm>
        <a:off x="6285673" y="1502152"/>
        <a:ext cx="287261" cy="393025"/>
      </dsp:txXfrm>
    </dsp:sp>
    <dsp:sp modelId="{D89A8CAC-EB46-4693-A9F5-A064E8EFDD0C}">
      <dsp:nvSpPr>
        <dsp:cNvPr id="0" name=""/>
        <dsp:cNvSpPr/>
      </dsp:nvSpPr>
      <dsp:spPr>
        <a:xfrm>
          <a:off x="6633053" y="2403890"/>
          <a:ext cx="522293" cy="522293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300" kern="1200"/>
        </a:p>
      </dsp:txBody>
      <dsp:txXfrm>
        <a:off x="6750569" y="2403890"/>
        <a:ext cx="287261" cy="393025"/>
      </dsp:txXfrm>
    </dsp:sp>
    <dsp:sp modelId="{7B365600-431D-4308-99D7-92F1861F9C31}">
      <dsp:nvSpPr>
        <dsp:cNvPr id="0" name=""/>
        <dsp:cNvSpPr/>
      </dsp:nvSpPr>
      <dsp:spPr>
        <a:xfrm>
          <a:off x="7097948" y="3327949"/>
          <a:ext cx="522293" cy="522293"/>
        </a:xfrm>
        <a:prstGeom prst="downArrow">
          <a:avLst>
            <a:gd name="adj1" fmla="val 55000"/>
            <a:gd name="adj2" fmla="val 45000"/>
          </a:avLst>
        </a:prstGeom>
        <a:solidFill>
          <a:srgbClr val="0070C0">
            <a:alpha val="90000"/>
          </a:srgb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210" tIns="29210" rIns="29210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300" kern="1200"/>
        </a:p>
      </dsp:txBody>
      <dsp:txXfrm>
        <a:off x="7215464" y="3327949"/>
        <a:ext cx="287261" cy="3930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12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12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12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12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12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12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12.05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12.05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12.05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12.05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12.05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12.05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12.05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110799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бюджетное профессиональное образовательное учреждение «Челябинский радиотехнический техникум»</a:t>
            </a:r>
            <a:endParaRPr lang="ru-RU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687983" y="1893790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област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3963542" y="4705804"/>
            <a:ext cx="4851575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</a:t>
            </a:r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БПОУ «ЧРТ»</a:t>
            </a:r>
          </a:p>
          <a:p>
            <a:pPr algn="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римова Лариса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Зинатовна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ED1909E-D425-4815-B6E0-8863093AA9F6}"/>
              </a:ext>
            </a:extLst>
          </p:cNvPr>
          <p:cNvSpPr txBox="1"/>
          <p:nvPr/>
        </p:nvSpPr>
        <p:spPr>
          <a:xfrm>
            <a:off x="843844" y="3480995"/>
            <a:ext cx="7624018" cy="95410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8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Оптимизация процесса формирования листа самообследования в ГБПОУ «Челябинский радиотехнический техникум»</a:t>
            </a:r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6C5848D-E353-4493-B4C3-0DA0BB73400D}"/>
              </a:ext>
            </a:extLst>
          </p:cNvPr>
          <p:cNvSpPr txBox="1"/>
          <p:nvPr/>
        </p:nvSpPr>
        <p:spPr>
          <a:xfrm>
            <a:off x="2393467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2022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187241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843844" y="97731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олнение плана реализации проекта</a:t>
            </a: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6A4A1D50-C345-4A34-88BD-4C0B81EE5703}"/>
              </a:ext>
            </a:extLst>
          </p:cNvPr>
          <p:cNvSpPr txBox="1"/>
          <p:nvPr/>
        </p:nvSpPr>
        <p:spPr>
          <a:xfrm>
            <a:off x="712996" y="1910934"/>
            <a:ext cx="3649615" cy="160043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1400" b="1" dirty="0">
              <a:solidFill>
                <a:schemeClr val="tx2">
                  <a:lumMod val="75000"/>
                </a:schemeClr>
              </a:solidFill>
            </a:endParaRPr>
          </a:p>
          <a:p>
            <a:pPr algn="just"/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базе 1с предприятие разработана информационная система, обеспечивающая хранение, подтверждение и своевременную обработку листов самообследования</a:t>
            </a:r>
            <a:endParaRPr lang="ru-RU" sz="1400" b="1" u="sng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0D51C3F4-9A63-49B6-55A1-5A8EC5BA22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23745" y="1492202"/>
            <a:ext cx="4098508" cy="3320436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BDFF9E03-9905-4C0A-A712-2A8A4CF4B4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787" y="4271479"/>
            <a:ext cx="6312252" cy="2089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83130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A690F5C-004C-42B9-B72F-B786C782DD2F}"/>
              </a:ext>
            </a:extLst>
          </p:cNvPr>
          <p:cNvSpPr txBox="1"/>
          <p:nvPr/>
        </p:nvSpPr>
        <p:spPr>
          <a:xfrm>
            <a:off x="759991" y="657253"/>
            <a:ext cx="7624018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реализации проекта</a:t>
            </a:r>
          </a:p>
          <a:p>
            <a:endParaRPr lang="ru-RU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77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4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CBFF7169-D268-6520-F1CB-D1637849C067}"/>
              </a:ext>
            </a:extLst>
          </p:cNvPr>
          <p:cNvSpPr txBox="1"/>
          <p:nvPr/>
        </p:nvSpPr>
        <p:spPr>
          <a:xfrm>
            <a:off x="287524" y="1051055"/>
            <a:ext cx="8568952" cy="2595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spcBef>
                <a:spcPts val="600"/>
              </a:spcBef>
              <a:spcAft>
                <a:spcPts val="0"/>
              </a:spcAft>
            </a:pPr>
            <a:r>
              <a:rPr lang="ru-RU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Для достижения целевых значений показателей реализованы следующие ключевые мероприятия: </a:t>
            </a: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здание приказа о разработке и введение в действие информационной системы для электронного заполнения и подтверждения листов самообследования (Приказ №71/1 К от 07.11.2022г.)</a:t>
            </a: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ыработка алгоритма взаимодействия сотрудников при согласовании листа самообследования</a:t>
            </a: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учение сотрудников и ответственных за согласование этапов лиц работе с информационной системой</a:t>
            </a: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FFBE8A49-CD31-9032-F9AB-B6673791DF3A}"/>
              </a:ext>
            </a:extLst>
          </p:cNvPr>
          <p:cNvSpPr txBox="1"/>
          <p:nvPr/>
        </p:nvSpPr>
        <p:spPr>
          <a:xfrm>
            <a:off x="254523" y="3790535"/>
            <a:ext cx="8568951" cy="25704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</a:pPr>
            <a:r>
              <a:rPr lang="ru-RU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результате реализации проекта установлены следующие эффекты:</a:t>
            </a:r>
            <a:endParaRPr lang="ru-R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5000"/>
              </a:lnSpc>
              <a:spcBef>
                <a:spcPts val="600"/>
              </a:spcBef>
            </a:pPr>
            <a:r>
              <a:rPr lang="ru-RU" sz="1600" dirty="0"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онно-управленческие: разработан алгоритм взаимодействия сотрудников по вопросу утверждения листов самообследования преподавателей; оптимизирован процесс заполнения листов самообследования.</a:t>
            </a:r>
          </a:p>
          <a:p>
            <a:pPr algn="just">
              <a:lnSpc>
                <a:spcPct val="115000"/>
              </a:lnSpc>
              <a:spcBef>
                <a:spcPts val="600"/>
              </a:spcBef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Экономические: сокращение времени на заполнение листов самообследования, сокращение количества используемой бумаги. </a:t>
            </a:r>
          </a:p>
          <a:p>
            <a:pPr algn="just">
              <a:lnSpc>
                <a:spcPct val="115000"/>
              </a:lnSpc>
              <a:spcBef>
                <a:spcPts val="600"/>
              </a:spcBef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Социальные: повышение уровня объективности оценки достижений преподавателей, снижение конфликтности.</a:t>
            </a:r>
          </a:p>
        </p:txBody>
      </p:sp>
    </p:spTree>
    <p:extLst>
      <p:ext uri="{BB962C8B-B14F-4D97-AF65-F5344CB8AC3E}">
        <p14:creationId xmlns:p14="http://schemas.microsoft.com/office/powerpoint/2010/main" val="235811341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3844" y="857058"/>
            <a:ext cx="8219256" cy="544560"/>
          </a:xfrm>
        </p:spPr>
        <p:txBody>
          <a:bodyPr>
            <a:no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ндарт формирования листа самообследования в ГБПОУ «Челябинский радиотехнический техникум»</a:t>
            </a: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55239807"/>
              </p:ext>
            </p:extLst>
          </p:nvPr>
        </p:nvGraphicFramePr>
        <p:xfrm>
          <a:off x="539750" y="1628775"/>
          <a:ext cx="8085138" cy="4464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2</a:t>
            </a:fld>
            <a:endParaRPr lang="ru-RU"/>
          </a:p>
        </p:txBody>
      </p:sp>
      <p:pic>
        <p:nvPicPr>
          <p:cNvPr id="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18945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24435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3</a:t>
            </a:fld>
            <a:endParaRPr lang="ru-RU"/>
          </a:p>
        </p:txBody>
      </p:sp>
      <p:pic>
        <p:nvPicPr>
          <p:cNvPr id="14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75823BC2-FB12-47E6-82C8-06BB47B28D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Заголовок 1">
            <a:extLst>
              <a:ext uri="{FF2B5EF4-FFF2-40B4-BE49-F238E27FC236}">
                <a16:creationId xmlns:a16="http://schemas.microsoft.com/office/drawing/2014/main" xmlns="" id="{A6DAA447-8852-48FC-B34D-B3D4DBC95E62}"/>
              </a:ext>
            </a:extLst>
          </p:cNvPr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:a16="http://schemas.microsoft.com/office/drawing/2014/main" xmlns="" id="{1CAD2D00-2E32-44F1-9195-0482C5AE1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066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AB7F9214-65B7-4DA9-8E70-1F7568E6EF8E}"/>
              </a:ext>
            </a:extLst>
          </p:cNvPr>
          <p:cNvSpPr/>
          <p:nvPr/>
        </p:nvSpPr>
        <p:spPr>
          <a:xfrm>
            <a:off x="683568" y="1099765"/>
            <a:ext cx="750134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FF0000"/>
                </a:solidFill>
              </a:rPr>
              <a:t>Ссылка на сайт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2FDB8E0C-BD3E-44F6-8E70-117F0B963AF4}"/>
              </a:ext>
            </a:extLst>
          </p:cNvPr>
          <p:cNvSpPr/>
          <p:nvPr/>
        </p:nvSpPr>
        <p:spPr>
          <a:xfrm>
            <a:off x="1587753" y="1639662"/>
            <a:ext cx="5968493" cy="400110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https://www.radiotech.su/activity/lean-technologies/</a:t>
            </a:r>
            <a:endParaRPr lang="ru-RU" sz="20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3A80CBA1-A427-42E6-F75F-4F1B1F1A5C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451727"/>
            <a:ext cx="9144000" cy="3492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4804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4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7197B7BC-FC34-5C37-56FB-F71680D4EF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71444" y="1024102"/>
            <a:ext cx="7629656" cy="5395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3129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500813"/>
            <a:ext cx="347662" cy="285750"/>
          </a:xfrm>
        </p:spPr>
        <p:txBody>
          <a:bodyPr/>
          <a:lstStyle/>
          <a:p>
            <a:pPr algn="ctr">
              <a:defRPr/>
            </a:pPr>
            <a:fld id="{2AD4DEC4-E446-475C-A333-F6C77385E2A3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514" y="35718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37" y="57306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xmlns="" id="{FE6847F8-8D88-1197-E12C-B6C6F0FEF907}"/>
              </a:ext>
            </a:extLst>
          </p:cNvPr>
          <p:cNvGraphicFramePr>
            <a:graphicFrameLocks noGrp="1"/>
          </p:cNvGraphicFramePr>
          <p:nvPr/>
        </p:nvGraphicFramePr>
        <p:xfrm>
          <a:off x="2246671" y="5169964"/>
          <a:ext cx="6413500" cy="12450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8374">
                  <a:extLst>
                    <a:ext uri="{9D8B030D-6E8A-4147-A177-3AD203B41FA5}">
                      <a16:colId xmlns:a16="http://schemas.microsoft.com/office/drawing/2014/main" xmlns="" val="1577185210"/>
                    </a:ext>
                  </a:extLst>
                </a:gridCol>
                <a:gridCol w="6185126">
                  <a:extLst>
                    <a:ext uri="{9D8B030D-6E8A-4147-A177-3AD203B41FA5}">
                      <a16:colId xmlns:a16="http://schemas.microsoft.com/office/drawing/2014/main" xmlns="" val="4022248336"/>
                    </a:ext>
                  </a:extLst>
                </a:gridCol>
              </a:tblGrid>
              <a:tr h="3136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№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</a:rPr>
                        <a:t>Наименование проблемы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381131104"/>
                  </a:ext>
                </a:extLst>
              </a:tr>
              <a:tr h="3104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Длительное ручное заполнение листа самообследования 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4184566357"/>
                  </a:ext>
                </a:extLst>
              </a:tr>
              <a:tr h="3104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Передача документов вручную на бумажном носителе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462414503"/>
                  </a:ext>
                </a:extLst>
              </a:tr>
              <a:tr h="3104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 err="1">
                          <a:effectLst/>
                        </a:rPr>
                        <a:t>Длительнаяподтверждение</a:t>
                      </a:r>
                      <a:r>
                        <a:rPr lang="ru-RU" sz="1600" u="none" strike="noStrike" dirty="0">
                          <a:effectLst/>
                        </a:rPr>
                        <a:t>  листов самообследования  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812659554"/>
                  </a:ext>
                </a:extLst>
              </a:tr>
            </a:tbl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9B8E3AE4-3DF7-A3C3-67B2-36F5312CAC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37" y="1068978"/>
            <a:ext cx="8948529" cy="324831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17434" name="Прямоугольник 5"/>
          <p:cNvSpPr>
            <a:spLocks noChangeArrowheads="1"/>
          </p:cNvSpPr>
          <p:nvPr/>
        </p:nvSpPr>
        <p:spPr bwMode="auto">
          <a:xfrm>
            <a:off x="1907704" y="788578"/>
            <a:ext cx="479886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Анализ проблем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2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07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4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63670C98-465A-A13A-07AA-294043E5EB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725" y="1417346"/>
            <a:ext cx="7992549" cy="4724809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хема 5"/>
          <p:cNvGraphicFramePr/>
          <p:nvPr/>
        </p:nvGraphicFramePr>
        <p:xfrm>
          <a:off x="827584" y="1231929"/>
          <a:ext cx="4104456" cy="46616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5172319" y="2073439"/>
            <a:ext cx="2827136" cy="535781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федеральном уровне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153134" y="2840439"/>
            <a:ext cx="2810024" cy="535781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на региональном уровне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153134" y="3596669"/>
            <a:ext cx="3171089" cy="180572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1200" dirty="0">
                <a:solidFill>
                  <a:schemeClr val="tx1"/>
                </a:solidFill>
              </a:rPr>
              <a:t>1. Длительное ручное заполнение листа самообследования </a:t>
            </a:r>
          </a:p>
          <a:p>
            <a:r>
              <a:rPr lang="ru-RU" sz="1200" dirty="0">
                <a:solidFill>
                  <a:schemeClr val="tx1"/>
                </a:solidFill>
              </a:rPr>
              <a:t>2. Передача документов вручную на бумажном носителе</a:t>
            </a:r>
          </a:p>
          <a:p>
            <a:r>
              <a:rPr lang="ru-RU" sz="1200" dirty="0">
                <a:solidFill>
                  <a:schemeClr val="tx1"/>
                </a:solidFill>
              </a:rPr>
              <a:t>3. Длительное подтверждение  листов самообследования </a:t>
            </a:r>
          </a:p>
        </p:txBody>
      </p:sp>
      <p:sp>
        <p:nvSpPr>
          <p:cNvPr id="9" name="Пятно 1 60"/>
          <p:cNvSpPr/>
          <p:nvPr/>
        </p:nvSpPr>
        <p:spPr>
          <a:xfrm>
            <a:off x="1775883" y="4896893"/>
            <a:ext cx="601776" cy="46866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681314" y="4333054"/>
            <a:ext cx="603995" cy="44958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3173297" y="4896893"/>
            <a:ext cx="732498" cy="496647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6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313807"/>
            <a:ext cx="540000" cy="694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482392" y="493230"/>
            <a:ext cx="2484277" cy="270030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664" y="750250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2807" y="6358650"/>
            <a:ext cx="5218385" cy="214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986739" y="1455602"/>
            <a:ext cx="359914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970D5C5-FB1B-4607-B94D-242D9579A688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2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842" y="644777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Прямоугольник 5"/>
          <p:cNvSpPr>
            <a:spLocks noChangeArrowheads="1"/>
          </p:cNvSpPr>
          <p:nvPr/>
        </p:nvSpPr>
        <p:spPr bwMode="auto">
          <a:xfrm>
            <a:off x="0" y="766064"/>
            <a:ext cx="889362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 Карта целевого состояния процесса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800" b="1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Оптимизация процесса формирования листа самообследования в ГБПОУ «Челябинский радиотехнический техникум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»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16795173-49D8-E0C4-3EBE-3BCCC47B79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823751"/>
            <a:ext cx="9144000" cy="3210498"/>
          </a:xfrm>
          <a:prstGeom prst="rect">
            <a:avLst/>
          </a:prstGeom>
        </p:spPr>
      </p:pic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xmlns="" id="{A71DB864-EB1C-2B4D-C0BB-0DBFEF90A20D}"/>
              </a:ext>
            </a:extLst>
          </p:cNvPr>
          <p:cNvGraphicFramePr>
            <a:graphicFrameLocks noGrp="1"/>
          </p:cNvGraphicFramePr>
          <p:nvPr/>
        </p:nvGraphicFramePr>
        <p:xfrm>
          <a:off x="3854883" y="5358759"/>
          <a:ext cx="5130801" cy="7277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8459">
                  <a:extLst>
                    <a:ext uri="{9D8B030D-6E8A-4147-A177-3AD203B41FA5}">
                      <a16:colId xmlns:a16="http://schemas.microsoft.com/office/drawing/2014/main" xmlns="" val="517043563"/>
                    </a:ext>
                  </a:extLst>
                </a:gridCol>
                <a:gridCol w="4902342">
                  <a:extLst>
                    <a:ext uri="{9D8B030D-6E8A-4147-A177-3AD203B41FA5}">
                      <a16:colId xmlns:a16="http://schemas.microsoft.com/office/drawing/2014/main" xmlns="" val="742775658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№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</a:rPr>
                        <a:t>Наименование решений</a:t>
                      </a:r>
                      <a:endParaRPr lang="ru-RU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8298983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effectLst/>
                        </a:rPr>
                        <a:t>Разработка информационной системы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68941010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Выработка алгоритма взаимодействия сотрудников при согласовании листа самообследован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145439707"/>
                  </a:ext>
                </a:extLst>
              </a:tr>
            </a:tbl>
          </a:graphicData>
        </a:graphic>
      </p:graphicFrame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1704" name="Object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7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</p:nvPr>
        </p:nvGraphicFramePr>
        <p:xfrm>
          <a:off x="123844" y="1343940"/>
          <a:ext cx="8846902" cy="54868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18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65493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434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3725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0855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640341">
                <a:tc>
                  <a:txBody>
                    <a:bodyPr/>
                    <a:lstStyle/>
                    <a:p>
                      <a:pPr algn="ctr"/>
                      <a:r>
                        <a:rPr lang="ru-RU" sz="1300"/>
                        <a:t> Проблема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/>
                        <a:t>Мероприятия  по решению проблемы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/>
                        <a:t>срок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/>
                        <a:t>Ожидаемый результат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18180">
                <a:tc rowSpan="5">
                  <a:txBody>
                    <a:bodyPr/>
                    <a:lstStyle/>
                    <a:p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 Длительное ручное заполнение листа самообследования</a:t>
                      </a: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kern="120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 Издание приказа о разработке информационной системы для хранения всех подтверждающих документов (приказов, распоряжений, фотоотчетов и т.п.)</a:t>
                      </a: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дронова М.Н.,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.директора по УПР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10.2022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ручного заполнения листов самообследования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полнение листов самообследования в электронном виде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времени на сбор листов самообследования.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18180"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Разработка информационной системы</a:t>
                      </a:r>
                    </a:p>
                  </a:txBody>
                  <a:tcPr marL="91438" marR="91438" marT="45739" marB="45739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.10.2022-24.10.202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ru-RU" sz="14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31535">
                <a:tc vMerge="1"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  </a:t>
                      </a: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ведение общего совещания участников проекта</a:t>
                      </a: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дронова М.Н.,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.директора по УПР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.10.202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31535">
                <a:tc vMerge="1"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   </a:t>
                      </a:r>
                    </a:p>
                  </a:txBody>
                  <a:tcPr marL="91427" marR="91427" marT="45735" marB="45735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</a:t>
                      </a:r>
                      <a:r>
                        <a:rPr lang="ru-RU" sz="16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учение преподавателей работе с информационной системой</a:t>
                      </a:r>
                    </a:p>
                  </a:txBody>
                  <a:tcPr marL="91438" marR="91438" marT="45739" marB="45739" anchor="ctr"/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дронова М.Н.,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.директора по УПР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.10.2022-28.10.2022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/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731535">
                <a:tc vMerge="1">
                  <a:txBody>
                    <a:bodyPr/>
                    <a:lstStyle/>
                    <a:p>
                      <a:pPr algn="just"/>
                      <a:r>
                        <a:rPr lang="ru-RU" alt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</a:t>
                      </a:r>
                      <a:r>
                        <a:rPr lang="ru-RU" altLang="ru-RU" sz="14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lang="ru-RU" alt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27" marR="91427" marT="45735" marB="45735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 </a:t>
                      </a:r>
                      <a:r>
                        <a:rPr lang="ru-RU" sz="16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дание приказа о введение в действие информационной системы для электронного заполнения и подтверждения листов самообследования</a:t>
                      </a: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дронова М.Н.,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.директора по УПР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10.2022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just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829723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6935354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1704" name="Object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8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4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Содержимое 6"/>
          <p:cNvGraphicFramePr>
            <a:graphicFrameLocks noGrp="1"/>
          </p:cNvGraphicFramePr>
          <p:nvPr>
            <p:ph idx="1"/>
          </p:nvPr>
        </p:nvGraphicFramePr>
        <p:xfrm>
          <a:off x="70430" y="1000165"/>
          <a:ext cx="9038072" cy="57923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522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8787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4414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0062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0019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97281">
                <a:tc>
                  <a:txBody>
                    <a:bodyPr/>
                    <a:lstStyle/>
                    <a:p>
                      <a:pPr algn="ctr"/>
                      <a:r>
                        <a:rPr lang="ru-RU" sz="1300"/>
                        <a:t> Проблема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/>
                        <a:t>Мероприятия  по решению проблемы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/>
                        <a:t>Ответственный</a:t>
                      </a:r>
                      <a:r>
                        <a:rPr lang="ru-RU" sz="1300" baseline="0" dirty="0"/>
                        <a:t> 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/>
                        <a:t>срок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/>
                        <a:t>Ожидаемый результат</a:t>
                      </a:r>
                      <a:endParaRPr lang="ru-RU" sz="1300" dirty="0"/>
                    </a:p>
                  </a:txBody>
                  <a:tcPr marL="91438" marR="91438" marT="45739" marB="45739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06850">
                <a:tc>
                  <a:txBody>
                    <a:bodyPr/>
                    <a:lstStyle/>
                    <a:p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 Передача документов вручную на бумажном носителе</a:t>
                      </a: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 Выработка алгоритма взаимодействия сотрудников при согласовании листа самообследования</a:t>
                      </a: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дронова М.Н.,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.директора по УПР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.10.2022-14.11.2022</a:t>
                      </a: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этапов согласования.</a:t>
                      </a: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33834">
                <a:tc rowSpan="2">
                  <a:txBody>
                    <a:bodyPr/>
                    <a:lstStyle/>
                    <a:p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 Длительное подтверждение листов самообследования </a:t>
                      </a: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 Издание приказа о введение в действие информационной системы для электронного заполнения и подтверждения листов </a:t>
                      </a: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дронова М.Н.,</a:t>
                      </a:r>
                    </a:p>
                    <a:p>
                      <a:r>
                        <a:rPr lang="ru-RU" sz="12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.директора по УПР</a:t>
                      </a:r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12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11.2022-17.11.2022</a:t>
                      </a: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я времени на подтверждение листа самообследования</a:t>
                      </a: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37873841"/>
                  </a:ext>
                </a:extLst>
              </a:tr>
              <a:tr h="7975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Обучение ответственных за согласование этапов лиц работе с информационной системой</a:t>
                      </a: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54288997"/>
                  </a:ext>
                </a:extLst>
              </a:tr>
              <a:tr h="1742723">
                <a:tc gridSpan="2">
                  <a:txBody>
                    <a:bodyPr/>
                    <a:lstStyle/>
                    <a:p>
                      <a:pPr algn="l"/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нализ и оценка достижения целевых показателей проекта</a:t>
                      </a: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just"/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1438" marR="91438" marT="45739" marB="45739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аримова Л.З., директор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11-11.12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3975" marR="53975" marT="0" marB="0" anchor="ctr">
                    <a:solidFill>
                      <a:srgbClr val="9EE0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времени на заполнение листа самообследования в 5 раз, исключение ошибок при заполнении листа самообследования </a:t>
                      </a:r>
                    </a:p>
                  </a:txBody>
                  <a:tcPr marL="91438" marR="91438" marT="45739" marB="45739" anchor="ctr">
                    <a:solidFill>
                      <a:srgbClr val="9EE0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71463336"/>
                  </a:ext>
                </a:extLst>
              </a:tr>
            </a:tbl>
          </a:graphicData>
        </a:graphic>
      </p:graphicFrame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94851" y="581021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реализации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9823277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Заголовок 1"/>
          <p:cNvSpPr>
            <a:spLocks noGrp="1"/>
          </p:cNvSpPr>
          <p:nvPr>
            <p:ph type="title"/>
          </p:nvPr>
        </p:nvSpPr>
        <p:spPr>
          <a:xfrm>
            <a:off x="483844" y="959978"/>
            <a:ext cx="8229600" cy="49053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2800" b="1" dirty="0">
                <a:solidFill>
                  <a:srgbClr val="0070C0"/>
                </a:solidFill>
              </a:rPr>
              <a:t>Достигнутые результаты (было и стало) </a:t>
            </a:r>
          </a:p>
        </p:txBody>
      </p:sp>
      <p:sp>
        <p:nvSpPr>
          <p:cNvPr id="23555" name="Содержимое 4"/>
          <p:cNvSpPr>
            <a:spLocks noGrp="1"/>
          </p:cNvSpPr>
          <p:nvPr>
            <p:ph idx="1"/>
          </p:nvPr>
        </p:nvSpPr>
        <p:spPr>
          <a:xfrm>
            <a:off x="461606" y="1484784"/>
            <a:ext cx="8229600" cy="461665"/>
          </a:xfrm>
        </p:spPr>
        <p:txBody>
          <a:bodyPr>
            <a:spAutoFit/>
          </a:bodyPr>
          <a:lstStyle/>
          <a:p>
            <a:pPr algn="ctr" eaLnBrk="1" hangingPunct="1">
              <a:buFont typeface="Arial" charset="0"/>
              <a:buNone/>
            </a:pPr>
            <a:r>
              <a:rPr lang="ru-RU" altLang="ru-RU" sz="2400" b="1" dirty="0">
                <a:solidFill>
                  <a:srgbClr val="00B0F0"/>
                </a:solidFill>
              </a:rPr>
              <a:t>Время протекания процесса:</a:t>
            </a:r>
            <a:r>
              <a:rPr lang="en-US" altLang="ru-RU" sz="2400" b="1" dirty="0">
                <a:solidFill>
                  <a:srgbClr val="00B0F0"/>
                </a:solidFill>
                <a:latin typeface="Franklin Gothic Book" pitchFamily="34" charset="0"/>
              </a:rPr>
              <a:t> </a:t>
            </a:r>
            <a:endParaRPr lang="ru-RU" altLang="ru-RU" sz="2400" b="1" dirty="0">
              <a:solidFill>
                <a:srgbClr val="00B0F0"/>
              </a:solidFill>
            </a:endParaRPr>
          </a:p>
        </p:txBody>
      </p:sp>
      <p:sp>
        <p:nvSpPr>
          <p:cNvPr id="23554" name="Номер слайда 3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eaLnBrk="0" hangingPunct="0"/>
            <a:fld id="{73995617-6FF0-4B41-9B11-82E5C3F61D0B}" type="slidenum">
              <a:rPr lang="ru-RU" altLang="ru-RU" smtClean="0">
                <a:latin typeface="Arial" charset="0"/>
              </a:rPr>
              <a:pPr eaLnBrk="0" hangingPunct="0"/>
              <a:t>9</a:t>
            </a:fld>
            <a:endParaRPr lang="ru-RU" altLang="ru-RU"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3718" y="1949039"/>
            <a:ext cx="3714750" cy="26108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>
                <a:solidFill>
                  <a:srgbClr val="0070C0"/>
                </a:solidFill>
                <a:cs typeface="Arial" panose="020B0604020202020204" pitchFamily="34" charset="0"/>
              </a:rPr>
              <a:t>5 рабочих дней</a:t>
            </a:r>
            <a:endParaRPr lang="ru-RU" sz="2800" dirty="0">
              <a:solidFill>
                <a:srgbClr val="0070C0"/>
              </a:solidFill>
              <a:latin typeface="+mn-lt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AutoNum type="arabicPeriod"/>
              <a:defRPr/>
            </a:pPr>
            <a:endParaRPr lang="ru-RU" sz="14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AutoNum type="arabicPeriod"/>
              <a:defRPr/>
            </a:pPr>
            <a:endParaRPr lang="ru-RU" sz="1400" dirty="0">
              <a:solidFill>
                <a:schemeClr val="tx2">
                  <a:lumMod val="75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sz="2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 dirty="0">
                <a:solidFill>
                  <a:schemeClr val="accent3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258468" y="1971919"/>
            <a:ext cx="3714750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 dirty="0">
                <a:solidFill>
                  <a:srgbClr val="0070C0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ru-RU" sz="2800" dirty="0">
                <a:solidFill>
                  <a:srgbClr val="0070C0"/>
                </a:solidFill>
                <a:cs typeface="Arial" panose="020B0604020202020204" pitchFamily="34" charset="0"/>
              </a:rPr>
              <a:t>1 рабочий день</a:t>
            </a:r>
            <a:endParaRPr lang="ru-RU" sz="2800" dirty="0">
              <a:solidFill>
                <a:srgbClr val="0070C0"/>
              </a:solidFill>
              <a:latin typeface="+mn-lt"/>
              <a:cs typeface="Arial" panose="020B0604020202020204" pitchFamily="34" charset="0"/>
            </a:endParaRPr>
          </a:p>
          <a:p>
            <a:pPr algn="ctr">
              <a:spcBef>
                <a:spcPts val="0"/>
              </a:spcBef>
              <a:defRPr/>
            </a:pPr>
            <a:r>
              <a:rPr lang="en-US" sz="2800" b="1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3559" name="Прямоугольник 23"/>
          <p:cNvSpPr>
            <a:spLocks noChangeArrowheads="1"/>
          </p:cNvSpPr>
          <p:nvPr/>
        </p:nvSpPr>
        <p:spPr bwMode="auto">
          <a:xfrm>
            <a:off x="565600" y="3974346"/>
            <a:ext cx="770485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ЭКОНОМИЯ ВРЕМЕНИ или  других ресурсов:  </a:t>
            </a:r>
          </a:p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4 рабочих дня</a:t>
            </a:r>
          </a:p>
          <a:p>
            <a:pPr algn="ctr"/>
            <a:r>
              <a:rPr lang="ru-RU" altLang="ru-RU" b="1" dirty="0">
                <a:solidFill>
                  <a:srgbClr val="002060"/>
                </a:solidFill>
              </a:rPr>
              <a:t>80%</a:t>
            </a:r>
          </a:p>
        </p:txBody>
      </p:sp>
      <p:cxnSp>
        <p:nvCxnSpPr>
          <p:cNvPr id="11" name="Прямая соединительная линия 10"/>
          <p:cNvCxnSpPr>
            <a:cxnSpLocks/>
          </p:cNvCxnSpPr>
          <p:nvPr/>
        </p:nvCxnSpPr>
        <p:spPr>
          <a:xfrm>
            <a:off x="4287151" y="2204868"/>
            <a:ext cx="0" cy="1368148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190256" y="3617149"/>
            <a:ext cx="6429375" cy="1191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313894" y="5023696"/>
            <a:ext cx="865059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0070C0"/>
                </a:solidFill>
                <a:latin typeface="Arial" panose="020B0604020202020204" pitchFamily="34" charset="0"/>
              </a:rPr>
              <a:t>СНИЖЕНИЕ ВРЕМЕННЫХ ПОТЕРЬ  ЗА СЧЕТ </a:t>
            </a:r>
          </a:p>
          <a:p>
            <a:pPr algn="ctr">
              <a:defRPr/>
            </a:pP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</a:endParaRPr>
          </a:p>
          <a:p>
            <a:pPr>
              <a:defRPr/>
            </a:pPr>
            <a:r>
              <a:rPr lang="ru-RU" sz="1600" b="1" dirty="0">
                <a:solidFill>
                  <a:srgbClr val="2992A7"/>
                </a:solidFill>
                <a:latin typeface="Arial" panose="020B0604020202020204" pitchFamily="34" charset="0"/>
              </a:rPr>
              <a:t>Автоматизации процесса заполнения листов самообследования преподавателей, разработки алгоритма утверждения листов самообследования</a:t>
            </a:r>
          </a:p>
        </p:txBody>
      </p:sp>
      <p:pic>
        <p:nvPicPr>
          <p:cNvPr id="16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xmlns="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Заголовок 1"/>
          <p:cNvSpPr txBox="1">
            <a:spLocks/>
          </p:cNvSpPr>
          <p:nvPr/>
        </p:nvSpPr>
        <p:spPr>
          <a:xfrm>
            <a:off x="1084414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483" y="493527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256" y="630510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23988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858</TotalTime>
  <Words>683</Words>
  <Application>Microsoft Office PowerPoint</Application>
  <PresentationFormat>Экран (4:3)</PresentationFormat>
  <Paragraphs>155</Paragraphs>
  <Slides>1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think-cell Slide</vt:lpstr>
      <vt:lpstr>Челябинская область</vt:lpstr>
      <vt:lpstr>Презентация PowerPoint</vt:lpstr>
      <vt:lpstr>Презентация PowerPoint</vt:lpstr>
      <vt:lpstr>Челябинская область</vt:lpstr>
      <vt:lpstr>Презентация PowerPoint</vt:lpstr>
      <vt:lpstr>Презентация PowerPoint</vt:lpstr>
      <vt:lpstr>Презентация PowerPoint</vt:lpstr>
      <vt:lpstr>Презентация PowerPoint</vt:lpstr>
      <vt:lpstr>Достигнутые результаты (было и стало) </vt:lpstr>
      <vt:lpstr>Челябинская область</vt:lpstr>
      <vt:lpstr>Челябинская область</vt:lpstr>
      <vt:lpstr>Стандарт формирования листа самообследования в ГБПОУ «Челябинский радиотехнический техникум»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Татьяна Хлызова</cp:lastModifiedBy>
  <cp:revision>129</cp:revision>
  <cp:lastPrinted>2019-04-25T09:14:46Z</cp:lastPrinted>
  <dcterms:created xsi:type="dcterms:W3CDTF">2018-08-20T14:01:12Z</dcterms:created>
  <dcterms:modified xsi:type="dcterms:W3CDTF">2023-05-12T03:58:06Z</dcterms:modified>
</cp:coreProperties>
</file>